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  <p:sldMasterId id="2147483828" r:id="rId5"/>
  </p:sldMasterIdLst>
  <p:notesMasterIdLst>
    <p:notesMasterId r:id="rId36"/>
  </p:notesMasterIdLst>
  <p:handoutMasterIdLst>
    <p:handoutMasterId r:id="rId37"/>
  </p:handoutMasterIdLst>
  <p:sldIdLst>
    <p:sldId id="1412" r:id="rId6"/>
    <p:sldId id="1429" r:id="rId7"/>
    <p:sldId id="1450" r:id="rId8"/>
    <p:sldId id="1451" r:id="rId9"/>
    <p:sldId id="1436" r:id="rId10"/>
    <p:sldId id="1437" r:id="rId11"/>
    <p:sldId id="1430" r:id="rId12"/>
    <p:sldId id="1438" r:id="rId13"/>
    <p:sldId id="1434" r:id="rId14"/>
    <p:sldId id="1433" r:id="rId15"/>
    <p:sldId id="1440" r:id="rId16"/>
    <p:sldId id="1427" r:id="rId17"/>
    <p:sldId id="1439" r:id="rId18"/>
    <p:sldId id="1441" r:id="rId19"/>
    <p:sldId id="1442" r:id="rId20"/>
    <p:sldId id="1435" r:id="rId21"/>
    <p:sldId id="1443" r:id="rId22"/>
    <p:sldId id="1446" r:id="rId23"/>
    <p:sldId id="1445" r:id="rId24"/>
    <p:sldId id="1448" r:id="rId25"/>
    <p:sldId id="1444" r:id="rId26"/>
    <p:sldId id="1452" r:id="rId27"/>
    <p:sldId id="1449" r:id="rId28"/>
    <p:sldId id="1447" r:id="rId29"/>
    <p:sldId id="1453" r:id="rId30"/>
    <p:sldId id="1455" r:id="rId31"/>
    <p:sldId id="1456" r:id="rId32"/>
    <p:sldId id="1457" r:id="rId33"/>
    <p:sldId id="1459" r:id="rId34"/>
    <p:sldId id="1460" r:id="rId35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itial Version" id="{5F1EFC73-EE45-4F75-840D-79D453D920E2}">
          <p14:sldIdLst>
            <p14:sldId id="1412"/>
            <p14:sldId id="1429"/>
            <p14:sldId id="1450"/>
            <p14:sldId id="1451"/>
            <p14:sldId id="1436"/>
            <p14:sldId id="1437"/>
            <p14:sldId id="1430"/>
            <p14:sldId id="1438"/>
            <p14:sldId id="1434"/>
            <p14:sldId id="1433"/>
            <p14:sldId id="1440"/>
            <p14:sldId id="1427"/>
            <p14:sldId id="1439"/>
            <p14:sldId id="1441"/>
            <p14:sldId id="1442"/>
            <p14:sldId id="1435"/>
            <p14:sldId id="1443"/>
            <p14:sldId id="1446"/>
            <p14:sldId id="1445"/>
            <p14:sldId id="1448"/>
            <p14:sldId id="1444"/>
          </p14:sldIdLst>
        </p14:section>
        <p14:section name="Optimized" id="{129A62E0-F5CB-094A-8287-1CC9E4F3019C}">
          <p14:sldIdLst>
            <p14:sldId id="1452"/>
            <p14:sldId id="1449"/>
            <p14:sldId id="1447"/>
            <p14:sldId id="1453"/>
            <p14:sldId id="1455"/>
            <p14:sldId id="1456"/>
            <p14:sldId id="1457"/>
          </p14:sldIdLst>
        </p14:section>
        <p14:section name="CUTIE2" id="{A46743AF-1DA1-6C42-BDE8-5FC405BEBBFF}">
          <p14:sldIdLst>
            <p14:sldId id="1459"/>
            <p14:sldId id="1460"/>
          </p14:sldIdLst>
        </p14:section>
      </p14:sectionLst>
    </p:ext>
    <p:ext uri="{EFAFB233-063F-42B5-8137-9DF3F51BA10A}">
      <p15:sldGuideLst xmlns:p15="http://schemas.microsoft.com/office/powerpoint/2012/main">
        <p15:guide id="1" pos="4770" userDrawn="1">
          <p15:clr>
            <a:srgbClr val="A4A3A4"/>
          </p15:clr>
        </p15:guide>
        <p15:guide id="3" pos="415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1752" userDrawn="1">
          <p15:clr>
            <a:srgbClr val="A4A3A4"/>
          </p15:clr>
        </p15:guide>
        <p15:guide id="7" pos="4067" userDrawn="1">
          <p15:clr>
            <a:srgbClr val="A4A3A4"/>
          </p15:clr>
        </p15:guide>
        <p15:guide id="8" pos="2230" userDrawn="1">
          <p15:clr>
            <a:srgbClr val="A4A3A4"/>
          </p15:clr>
        </p15:guide>
        <p15:guide id="9" orient="horz" pos="2840" userDrawn="1">
          <p15:clr>
            <a:srgbClr val="A4A3A4"/>
          </p15:clr>
        </p15:guide>
        <p15:guide id="10" orient="horz" pos="2931" userDrawn="1">
          <p15:clr>
            <a:srgbClr val="A4A3A4"/>
          </p15:clr>
        </p15:guide>
        <p15:guide id="11" pos="5722" userDrawn="1">
          <p15:clr>
            <a:srgbClr val="A4A3A4"/>
          </p15:clr>
        </p15:guide>
        <p15:guide id="12" pos="4498" userDrawn="1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pos="2389" userDrawn="1">
          <p15:clr>
            <a:srgbClr val="A4A3A4"/>
          </p15:clr>
        </p15:guide>
        <p15:guide id="15" orient="horz" pos="640" userDrawn="1">
          <p15:clr>
            <a:srgbClr val="A4A3A4"/>
          </p15:clr>
        </p15:guide>
        <p15:guide id="17" pos="1050" userDrawn="1">
          <p15:clr>
            <a:srgbClr val="A4A3A4"/>
          </p15:clr>
        </p15:guide>
        <p15:guide id="18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galia, Andrea" initials="RA" lastIdx="12" clrIdx="0">
    <p:extLst>
      <p:ext uri="{19B8F6BF-5375-455C-9EA6-DF929625EA0E}">
        <p15:presenceInfo xmlns:p15="http://schemas.microsoft.com/office/powerpoint/2012/main" userId="S-1-5-21-329068152-1454471165-1417001333-7153" providerId="AD"/>
      </p:ext>
    </p:extLst>
  </p:cmAuthor>
  <p:cmAuthor id="2" name="Gerhardy, André" initials="GA" lastIdx="2" clrIdx="1">
    <p:extLst>
      <p:ext uri="{19B8F6BF-5375-455C-9EA6-DF929625EA0E}">
        <p15:presenceInfo xmlns:p15="http://schemas.microsoft.com/office/powerpoint/2012/main" userId="Gerhardy, André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8C4"/>
    <a:srgbClr val="8FB9D8"/>
    <a:srgbClr val="84B0D3"/>
    <a:srgbClr val="EFB1B1"/>
    <a:srgbClr val="E96E68"/>
    <a:srgbClr val="C5D6ED"/>
    <a:srgbClr val="CCDBEF"/>
    <a:srgbClr val="73FB79"/>
    <a:srgbClr val="4A66AC"/>
    <a:srgbClr val="069AAC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47" autoAdjust="0"/>
    <p:restoredTop sz="93881" autoAdjust="0"/>
  </p:normalViewPr>
  <p:slideViewPr>
    <p:cSldViewPr snapToGrid="0">
      <p:cViewPr varScale="1">
        <p:scale>
          <a:sx n="109" d="100"/>
          <a:sy n="109" d="100"/>
        </p:scale>
        <p:origin x="896" y="176"/>
      </p:cViewPr>
      <p:guideLst>
        <p:guide pos="4770"/>
        <p:guide pos="415"/>
        <p:guide orient="horz" pos="3657"/>
        <p:guide pos="7423"/>
        <p:guide orient="horz" pos="1752"/>
        <p:guide pos="4067"/>
        <p:guide pos="2230"/>
        <p:guide orient="horz" pos="2840"/>
        <p:guide orient="horz" pos="2931"/>
        <p:guide pos="5722"/>
        <p:guide pos="4498"/>
        <p:guide orient="horz" pos="527"/>
        <p:guide pos="2389"/>
        <p:guide orient="horz" pos="640"/>
        <p:guide pos="1050"/>
        <p:guide orient="horz" pos="9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574" y="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commentAuthors" Target="commentAuthor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charset="0"/>
              </a:rPr>
              <a:t>4/24/19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charset="0"/>
              </a:r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4/24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298450" y="854075"/>
            <a:ext cx="11637963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endParaRPr lang="it-IT" sz="1600" dirty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20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>
            <a:normAutofit/>
          </a:bodyPr>
          <a:lstStyle>
            <a:lvl1pPr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4AB945-3A94-4A59-B7F4-8D50A59CD2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4AB945-3A94-4A59-B7F4-8D50A59CD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756071" y="5073855"/>
            <a:ext cx="3856329" cy="104119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SUBTITLE LIN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767974" y="460549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Graphik" panose="020B0503030202060203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A7AE758-59B6-4A99-8D2C-ABF67B3FC92E}"/>
              </a:ext>
            </a:extLst>
          </p:cNvPr>
          <p:cNvGrpSpPr/>
          <p:nvPr userDrawn="1"/>
        </p:nvGrpSpPr>
        <p:grpSpPr>
          <a:xfrm>
            <a:off x="5164" y="2274751"/>
            <a:ext cx="4163239" cy="4249869"/>
            <a:chOff x="1159200" y="456688"/>
            <a:chExt cx="5944244" cy="6067934"/>
          </a:xfrm>
        </p:grpSpPr>
        <p:sp>
          <p:nvSpPr>
            <p:cNvPr id="34" name="Freeform 12"/>
            <p:cNvSpPr>
              <a:spLocks/>
            </p:cNvSpPr>
            <p:nvPr userDrawn="1"/>
          </p:nvSpPr>
          <p:spPr bwMode="auto">
            <a:xfrm>
              <a:off x="1159200" y="2888528"/>
              <a:ext cx="5944244" cy="3636094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rgbClr val="00F3FF"/>
                </a:gs>
                <a:gs pos="100000">
                  <a:srgbClr val="2800FF"/>
                </a:gs>
              </a:gsLst>
              <a:lin ang="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159200" y="456688"/>
              <a:ext cx="5944244" cy="3652429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323851"/>
            <a:ext cx="5751674" cy="62103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70000"/>
              </a:lnSpc>
              <a:defRPr sz="7200" spc="-150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r>
              <a:rPr lang="en-US" dirty="0"/>
              <a:t>This is a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This is a Subhea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047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8441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0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52" userDrawn="1">
          <p15:clr>
            <a:srgbClr val="F26B43"/>
          </p15:clr>
        </p15:guide>
        <p15:guide id="2" pos="564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768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0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0049" y="6578329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604567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AU"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2018 Accenture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93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2800" b="1" kern="1200" cap="all" baseline="0">
          <a:solidFill>
            <a:srgbClr val="000088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800" b="1" kern="1200" cap="all" baseline="0">
          <a:solidFill>
            <a:schemeClr val="accent4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Graphik Regular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Graphik Regular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Graphik Regular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3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image" Target="../media/image44.tif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4.png"/><Relationship Id="rId3" Type="http://schemas.openxmlformats.org/officeDocument/2006/relationships/image" Target="../media/image9.svg"/><Relationship Id="rId21" Type="http://schemas.openxmlformats.org/officeDocument/2006/relationships/image" Target="../media/image27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19" Type="http://schemas.openxmlformats.org/officeDocument/2006/relationships/image" Target="../media/image25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2.png"/><Relationship Id="rId3" Type="http://schemas.openxmlformats.org/officeDocument/2006/relationships/image" Target="../media/image9.svg"/><Relationship Id="rId21" Type="http://schemas.openxmlformats.org/officeDocument/2006/relationships/image" Target="../media/image29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7.svg"/><Relationship Id="rId25" Type="http://schemas.openxmlformats.org/officeDocument/2006/relationships/image" Target="../media/image25.svg"/><Relationship Id="rId2" Type="http://schemas.openxmlformats.org/officeDocument/2006/relationships/image" Target="../media/image8.png"/><Relationship Id="rId16" Type="http://schemas.openxmlformats.org/officeDocument/2006/relationships/image" Target="../media/image26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24" Type="http://schemas.openxmlformats.org/officeDocument/2006/relationships/image" Target="../media/image24.pn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23" Type="http://schemas.openxmlformats.org/officeDocument/2006/relationships/image" Target="../media/image31.svg"/><Relationship Id="rId10" Type="http://schemas.openxmlformats.org/officeDocument/2006/relationships/image" Target="../media/image16.png"/><Relationship Id="rId19" Type="http://schemas.openxmlformats.org/officeDocument/2006/relationships/image" Target="../media/image23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1F471F-6F28-3B4A-B06C-B437329587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cap="none" dirty="0"/>
              <a:t>ACCENTURE</a:t>
            </a:r>
            <a:r>
              <a:rPr lang="zh-CN" altLang="en-US" cap="none" dirty="0"/>
              <a:t> </a:t>
            </a:r>
            <a:r>
              <a:rPr lang="en-US" altLang="zh-CN" cap="none" dirty="0"/>
              <a:t>NEW</a:t>
            </a:r>
            <a:r>
              <a:rPr lang="zh-CN" altLang="en-US" cap="none" dirty="0"/>
              <a:t> </a:t>
            </a:r>
            <a:r>
              <a:rPr lang="en-US" altLang="zh-CN" cap="none" dirty="0"/>
              <a:t>IT</a:t>
            </a:r>
          </a:p>
          <a:p>
            <a:r>
              <a:rPr lang="en-US" altLang="zh-CN" cap="none" dirty="0"/>
              <a:t>Xiaohui</a:t>
            </a:r>
            <a:r>
              <a:rPr lang="zh-CN" altLang="en-US" cap="none" dirty="0"/>
              <a:t> </a:t>
            </a:r>
            <a:r>
              <a:rPr lang="en-US" altLang="zh-CN" cap="none" dirty="0"/>
              <a:t>Zhao</a:t>
            </a:r>
            <a:r>
              <a:rPr lang="zh-CN" altLang="en-US" cap="none" dirty="0"/>
              <a:t> </a:t>
            </a:r>
            <a:r>
              <a:rPr lang="en-US" altLang="zh-CN" cap="none" dirty="0"/>
              <a:t>Ph.D.</a:t>
            </a:r>
            <a:endParaRPr lang="en-US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3DAC35-2C57-C645-8CF3-93283B0E0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3851"/>
            <a:ext cx="8564696" cy="6210300"/>
          </a:xfrm>
        </p:spPr>
        <p:txBody>
          <a:bodyPr/>
          <a:lstStyle/>
          <a:p>
            <a:r>
              <a:rPr lang="en-US" altLang="zh-CN" dirty="0"/>
              <a:t>Interested</a:t>
            </a:r>
            <a:r>
              <a:rPr lang="zh-CN" altLang="en-US" dirty="0"/>
              <a:t> </a:t>
            </a:r>
            <a:r>
              <a:rPr lang="en-US" altLang="zh-CN" dirty="0"/>
              <a:t>Information</a:t>
            </a:r>
            <a:r>
              <a:rPr lang="zh-CN" altLang="en-US" dirty="0"/>
              <a:t> </a:t>
            </a:r>
            <a:r>
              <a:rPr lang="en-US" altLang="zh-CN" dirty="0"/>
              <a:t>Extraction</a:t>
            </a:r>
            <a:br>
              <a:rPr lang="en-US" altLang="zh-CN" dirty="0"/>
            </a:br>
            <a:r>
              <a:rPr lang="en-US" altLang="zh-CN" dirty="0"/>
              <a:t>from</a:t>
            </a:r>
            <a:br>
              <a:rPr lang="en-US" altLang="zh-CN" dirty="0"/>
            </a:br>
            <a:r>
              <a:rPr lang="en-US" altLang="zh-CN" dirty="0"/>
              <a:t>Document</a:t>
            </a:r>
            <a:r>
              <a:rPr lang="zh-CN" altLang="en-US" dirty="0"/>
              <a:t> </a:t>
            </a:r>
            <a:r>
              <a:rPr lang="en-US" altLang="zh-CN" dirty="0"/>
              <a:t>Image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371AE7-2C35-E24F-9165-960CBD3C423D}"/>
              </a:ext>
            </a:extLst>
          </p:cNvPr>
          <p:cNvSpPr txBox="1"/>
          <p:nvPr/>
        </p:nvSpPr>
        <p:spPr>
          <a:xfrm>
            <a:off x="-576596" y="527672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0596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erent</a:t>
            </a:r>
            <a:r>
              <a:rPr lang="zh-CN" altLang="en-US" dirty="0"/>
              <a:t> </a:t>
            </a:r>
            <a:r>
              <a:rPr lang="en-US" altLang="zh-CN" dirty="0"/>
              <a:t>Word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4364D87-B52B-2946-8778-4E1CA5863332}"/>
              </a:ext>
            </a:extLst>
          </p:cNvPr>
          <p:cNvGrpSpPr/>
          <p:nvPr/>
        </p:nvGrpSpPr>
        <p:grpSpPr>
          <a:xfrm>
            <a:off x="1466729" y="2137023"/>
            <a:ext cx="3211288" cy="2015109"/>
            <a:chOff x="1513112" y="1930464"/>
            <a:chExt cx="3211288" cy="201510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2D8168A-28AC-F944-B573-EB9CD8E0BCA5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E5E30F-6C5A-B947-BDDF-6B5B0873AFA3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185070-9E12-2D43-AB3C-EA4CE68545A7}"/>
              </a:ext>
            </a:extLst>
          </p:cNvPr>
          <p:cNvGrpSpPr/>
          <p:nvPr/>
        </p:nvGrpSpPr>
        <p:grpSpPr>
          <a:xfrm>
            <a:off x="4907236" y="3585731"/>
            <a:ext cx="1838149" cy="2855376"/>
            <a:chOff x="5004989" y="3579212"/>
            <a:chExt cx="1838149" cy="285537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B2B5E73-3FC0-3948-BB2F-948D6C6245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949993D-77CE-8043-882F-66962B9BAF23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54B3E7-1F27-A748-9FD0-86ADC41F5AF4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FDC336-006F-484C-BF48-9603B0709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474F140-F6D5-DD4E-A2BB-7CA872EE488E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DE64A7-F3EF-274D-85D3-7FD86D7A93EE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281965F-9BA2-A145-A1C9-20A06030A6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40BE0BF-B224-5449-A494-B21F52E9CD7D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9404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(rules</a:t>
            </a:r>
            <a:r>
              <a:rPr lang="zh-CN" altLang="en-US" sz="1600" dirty="0"/>
              <a:t> </a:t>
            </a:r>
            <a:r>
              <a:rPr lang="en-US" altLang="zh-CN" sz="1600" dirty="0"/>
              <a:t>face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y)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DBB410-F9CA-434C-84AA-E86D078A86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89" r="2441" b="34652"/>
          <a:stretch/>
        </p:blipFill>
        <p:spPr>
          <a:xfrm>
            <a:off x="1037063" y="1717888"/>
            <a:ext cx="4583152" cy="44815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F850A2-E9C8-474D-9D8A-8F6B4446F7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225" b="43920"/>
          <a:stretch/>
        </p:blipFill>
        <p:spPr>
          <a:xfrm>
            <a:off x="6571787" y="2096573"/>
            <a:ext cx="4855179" cy="384597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B054252-D239-7741-9D29-5F1473DF8D90}"/>
              </a:ext>
            </a:extLst>
          </p:cNvPr>
          <p:cNvSpPr/>
          <p:nvPr/>
        </p:nvSpPr>
        <p:spPr>
          <a:xfrm>
            <a:off x="4299755" y="4729684"/>
            <a:ext cx="614407" cy="408653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D549608-B505-9447-BD29-20DA42CE1078}"/>
              </a:ext>
            </a:extLst>
          </p:cNvPr>
          <p:cNvSpPr/>
          <p:nvPr/>
        </p:nvSpPr>
        <p:spPr>
          <a:xfrm>
            <a:off x="4130194" y="5549830"/>
            <a:ext cx="1415200" cy="178602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BB22B7-90D3-3745-961A-CD5502F7E64A}"/>
              </a:ext>
            </a:extLst>
          </p:cNvPr>
          <p:cNvSpPr/>
          <p:nvPr/>
        </p:nvSpPr>
        <p:spPr>
          <a:xfrm>
            <a:off x="9056155" y="5494267"/>
            <a:ext cx="2098782" cy="23416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119CFD-EFA8-BC48-8DE7-C6A84970B752}"/>
              </a:ext>
            </a:extLst>
          </p:cNvPr>
          <p:cNvSpPr/>
          <p:nvPr/>
        </p:nvSpPr>
        <p:spPr>
          <a:xfrm>
            <a:off x="4730353" y="3990733"/>
            <a:ext cx="367618" cy="178602"/>
          </a:xfrm>
          <a:prstGeom prst="rect">
            <a:avLst/>
          </a:prstGeom>
          <a:solidFill>
            <a:srgbClr val="FF3C0F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556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6278DF96-37BC-F840-9EAB-A2C415DE631D}"/>
              </a:ext>
            </a:extLst>
          </p:cNvPr>
          <p:cNvGrpSpPr/>
          <p:nvPr/>
        </p:nvGrpSpPr>
        <p:grpSpPr>
          <a:xfrm>
            <a:off x="1476378" y="4948992"/>
            <a:ext cx="2165606" cy="1520227"/>
            <a:chOff x="522514" y="4866166"/>
            <a:chExt cx="2165606" cy="152022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4241311-9B72-3B46-86D0-FB0142C8EF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 flipH="1" flipV="1">
              <a:off x="845203" y="4543477"/>
              <a:ext cx="1520227" cy="2165606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354E684-85AE-E840-AD22-F9E588781E27}"/>
                </a:ext>
              </a:extLst>
            </p:cNvPr>
            <p:cNvSpPr/>
            <p:nvPr/>
          </p:nvSpPr>
          <p:spPr>
            <a:xfrm>
              <a:off x="1114998" y="5826440"/>
              <a:ext cx="980635" cy="23989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73A3F5-45D4-FF45-AF8B-940F48AA49F2}"/>
              </a:ext>
            </a:extLst>
          </p:cNvPr>
          <p:cNvGrpSpPr/>
          <p:nvPr/>
        </p:nvGrpSpPr>
        <p:grpSpPr>
          <a:xfrm>
            <a:off x="1458507" y="1643115"/>
            <a:ext cx="3211288" cy="2015109"/>
            <a:chOff x="381001" y="1991834"/>
            <a:chExt cx="3211288" cy="201510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EA3EE52-FE44-8E43-9F26-6A664CDEFD86}"/>
                </a:ext>
              </a:extLst>
            </p:cNvPr>
            <p:cNvSpPr/>
            <p:nvPr/>
          </p:nvSpPr>
          <p:spPr>
            <a:xfrm>
              <a:off x="381001" y="199183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</a:t>
              </a:r>
              <a:r>
                <a:rPr lang="ja-JP" altLang="en-US" sz="1600"/>
                <a:t>金额</a:t>
              </a:r>
              <a:r>
                <a:rPr lang="en-US" altLang="zh-CN" sz="1600" dirty="0"/>
                <a:t>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yp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FD25FF7-1012-9842-86F3-F594C1A39889}"/>
                </a:ext>
              </a:extLst>
            </p:cNvPr>
            <p:cNvSpPr/>
            <p:nvPr/>
          </p:nvSpPr>
          <p:spPr>
            <a:xfrm>
              <a:off x="2321623" y="2325896"/>
              <a:ext cx="732993" cy="34980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F2D589-3C89-5645-9C55-6AFEE31AFA48}"/>
              </a:ext>
            </a:extLst>
          </p:cNvPr>
          <p:cNvGrpSpPr/>
          <p:nvPr/>
        </p:nvGrpSpPr>
        <p:grpSpPr>
          <a:xfrm>
            <a:off x="4644792" y="3791876"/>
            <a:ext cx="4519078" cy="2681095"/>
            <a:chOff x="4605939" y="4044288"/>
            <a:chExt cx="4519078" cy="268109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79FFF6A-84DB-8B40-B723-6B1C39F656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5524930" y="3125297"/>
              <a:ext cx="2681095" cy="4519078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4273817-C534-2347-83A2-FDE5CF3F1732}"/>
                </a:ext>
              </a:extLst>
            </p:cNvPr>
            <p:cNvSpPr/>
            <p:nvPr/>
          </p:nvSpPr>
          <p:spPr>
            <a:xfrm>
              <a:off x="7508654" y="5056916"/>
              <a:ext cx="533055" cy="249219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C8C0717-5631-994C-A303-6AA8A310E1EA}"/>
              </a:ext>
            </a:extLst>
          </p:cNvPr>
          <p:cNvGrpSpPr/>
          <p:nvPr/>
        </p:nvGrpSpPr>
        <p:grpSpPr>
          <a:xfrm>
            <a:off x="9360034" y="1236222"/>
            <a:ext cx="2619096" cy="5236286"/>
            <a:chOff x="9296531" y="-393"/>
            <a:chExt cx="2895600" cy="68580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A84969-119A-6D40-96C2-DB32FD24CA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96531" y="-393"/>
              <a:ext cx="2895600" cy="685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A33DC4E-D3D5-9640-82D1-66F0E469AD97}"/>
                </a:ext>
              </a:extLst>
            </p:cNvPr>
            <p:cNvSpPr/>
            <p:nvPr/>
          </p:nvSpPr>
          <p:spPr>
            <a:xfrm>
              <a:off x="11213239" y="3135655"/>
              <a:ext cx="465635" cy="29238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7BB68E7-B6DF-144D-95E0-C32F13319E95}"/>
              </a:ext>
            </a:extLst>
          </p:cNvPr>
          <p:cNvGrpSpPr/>
          <p:nvPr/>
        </p:nvGrpSpPr>
        <p:grpSpPr>
          <a:xfrm>
            <a:off x="4934095" y="3164997"/>
            <a:ext cx="2372733" cy="1541338"/>
            <a:chOff x="3770927" y="2456914"/>
            <a:chExt cx="2372733" cy="154133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597F12C-2EF1-0340-A54D-501B2419D9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4186625" y="2041216"/>
              <a:ext cx="1541338" cy="2372733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E7C9E33-9A5B-214E-A3AB-CE5E69033EBC}"/>
                </a:ext>
              </a:extLst>
            </p:cNvPr>
            <p:cNvSpPr/>
            <p:nvPr/>
          </p:nvSpPr>
          <p:spPr>
            <a:xfrm>
              <a:off x="4463738" y="34289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F610504-C591-954B-A1D9-DD1AD5C9A022}"/>
              </a:ext>
            </a:extLst>
          </p:cNvPr>
          <p:cNvGrpSpPr/>
          <p:nvPr/>
        </p:nvGrpSpPr>
        <p:grpSpPr>
          <a:xfrm>
            <a:off x="6904330" y="1718992"/>
            <a:ext cx="2981356" cy="1911553"/>
            <a:chOff x="6229419" y="1765547"/>
            <a:chExt cx="2981356" cy="191155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3EBA5C3-7D4F-B942-A575-5D6F66D68F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6764320" y="1230646"/>
              <a:ext cx="1911553" cy="298135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728378-4E24-964A-9E20-3F3CBE338876}"/>
                </a:ext>
              </a:extLst>
            </p:cNvPr>
            <p:cNvSpPr/>
            <p:nvPr/>
          </p:nvSpPr>
          <p:spPr>
            <a:xfrm>
              <a:off x="6255146" y="2399596"/>
              <a:ext cx="601498" cy="214485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A76B28-98A3-CD4E-80AE-D3D86AA1F1CE}"/>
              </a:ext>
            </a:extLst>
          </p:cNvPr>
          <p:cNvGrpSpPr/>
          <p:nvPr/>
        </p:nvGrpSpPr>
        <p:grpSpPr>
          <a:xfrm>
            <a:off x="2765003" y="4296956"/>
            <a:ext cx="2067633" cy="1264313"/>
            <a:chOff x="2175133" y="4349345"/>
            <a:chExt cx="2067633" cy="126431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9FF2BA-D3D8-2642-8CF9-9C47550A2D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576793" y="3947685"/>
              <a:ext cx="1264313" cy="2067633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4547C1-EA68-774D-B89B-924B9230C19A}"/>
                </a:ext>
              </a:extLst>
            </p:cNvPr>
            <p:cNvSpPr/>
            <p:nvPr/>
          </p:nvSpPr>
          <p:spPr>
            <a:xfrm>
              <a:off x="2566930" y="4888262"/>
              <a:ext cx="1344057" cy="28972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8284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63C77FE-332B-6649-9126-4E3ED60144E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563417" y="1556376"/>
            <a:ext cx="4627767" cy="4953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9F4725F-700D-1B40-81D1-89D77E25D5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368297" y="1691735"/>
            <a:ext cx="4627224" cy="46608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887792" y="2608825"/>
            <a:ext cx="2878887" cy="234664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166194" y="2560654"/>
            <a:ext cx="1499958" cy="28283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10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A08EC6-EC71-BF48-9561-25BAB537F8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384" b="60000"/>
          <a:stretch/>
        </p:blipFill>
        <p:spPr>
          <a:xfrm>
            <a:off x="1437289" y="2587084"/>
            <a:ext cx="4781171" cy="2743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466340-69D3-D74D-BCA4-F0D055BD9E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9592" r="45137" b="34881"/>
          <a:stretch/>
        </p:blipFill>
        <p:spPr>
          <a:xfrm rot="5400000">
            <a:off x="6309935" y="2690780"/>
            <a:ext cx="5174559" cy="24364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756131" y="5686061"/>
            <a:ext cx="2066296" cy="29238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437289" y="4940170"/>
            <a:ext cx="2999026" cy="186211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00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E713FBE-22A1-AB4A-B42D-12F526D172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5" b="60026"/>
          <a:stretch/>
        </p:blipFill>
        <p:spPr>
          <a:xfrm>
            <a:off x="6382572" y="1718992"/>
            <a:ext cx="5345873" cy="44296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9C2035-F4CA-A04A-A3A2-7557724817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71" t="774" r="144" b="28946"/>
          <a:stretch/>
        </p:blipFill>
        <p:spPr>
          <a:xfrm>
            <a:off x="1458520" y="1569333"/>
            <a:ext cx="4430416" cy="481977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568781" y="5266785"/>
            <a:ext cx="2488949" cy="16457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6458271" y="5757928"/>
            <a:ext cx="2054498" cy="22991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1997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3111" y="2542911"/>
            <a:ext cx="8371177" cy="3612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337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201050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638161E-58E7-6A41-9F84-317D5116BBFB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517AB-99E5-7A42-B7F2-80E79249B0FB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829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329596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E44CF1A-2D47-9349-8BB5-51D95D4FE61C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D5FE5E-8638-9F4B-A370-62F0C4586016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7874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7850140"/>
              </p:ext>
            </p:extLst>
          </p:nvPr>
        </p:nvGraphicFramePr>
        <p:xfrm>
          <a:off x="805900" y="2927735"/>
          <a:ext cx="5290100" cy="2991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1E4EA17-D227-FC40-A7EC-392CA6203C96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53D904-C787-124C-8822-E3BD3D45C8DE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799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</a:t>
            </a:r>
            <a:r>
              <a:rPr lang="zh-CN" altLang="en-US" dirty="0"/>
              <a:t> </a:t>
            </a:r>
            <a:r>
              <a:rPr lang="en-US" altLang="zh-CN" dirty="0"/>
              <a:t>Scop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e.g.,</a:t>
            </a:r>
            <a:r>
              <a:rPr lang="zh-CN" altLang="en-US" sz="1600" dirty="0"/>
              <a:t> </a:t>
            </a:r>
            <a:r>
              <a:rPr lang="en-US" altLang="zh-CN" sz="1600" dirty="0"/>
              <a:t>below</a:t>
            </a:r>
            <a:r>
              <a:rPr lang="zh-CN" altLang="en-US" sz="1600" dirty="0"/>
              <a:t> </a:t>
            </a:r>
            <a:r>
              <a:rPr lang="en-US" altLang="zh-CN" sz="1600" dirty="0"/>
              <a:t>taxi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demonstrat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various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keywords.</a:t>
            </a:r>
            <a:r>
              <a:rPr lang="zh-CN" altLang="en-US" sz="1600" dirty="0"/>
              <a:t> </a:t>
            </a:r>
            <a:r>
              <a:rPr lang="en-US" altLang="zh-CN" sz="1600" b="1" dirty="0"/>
              <a:t>Automaticall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extracting</a:t>
            </a:r>
            <a:r>
              <a:rPr lang="zh-CN" altLang="en-US" sz="1600" b="1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reat</a:t>
            </a:r>
            <a:r>
              <a:rPr lang="zh-CN" altLang="en-US" sz="1600" dirty="0"/>
              <a:t> </a:t>
            </a:r>
            <a:r>
              <a:rPr lang="en-US" altLang="zh-CN" sz="1600" dirty="0"/>
              <a:t>interest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markets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DC42BCC8-90B9-2548-B21A-07709DC09770}"/>
              </a:ext>
            </a:extLst>
          </p:cNvPr>
          <p:cNvGrpSpPr/>
          <p:nvPr/>
        </p:nvGrpSpPr>
        <p:grpSpPr>
          <a:xfrm>
            <a:off x="1513112" y="2137023"/>
            <a:ext cx="3211288" cy="2015109"/>
            <a:chOff x="1513112" y="1930464"/>
            <a:chExt cx="3211288" cy="201510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9B49AB2-247D-4540-9585-FCB781E24116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5F844C2-0C10-ED4C-9F4B-34265A1C3B97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68DBFF2-2A27-6647-90E1-E72B5A5C0654}"/>
              </a:ext>
            </a:extLst>
          </p:cNvPr>
          <p:cNvGrpSpPr/>
          <p:nvPr/>
        </p:nvGrpSpPr>
        <p:grpSpPr>
          <a:xfrm>
            <a:off x="5004989" y="3579212"/>
            <a:ext cx="1838149" cy="2855376"/>
            <a:chOff x="5004989" y="3579212"/>
            <a:chExt cx="1838149" cy="2855376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0016C58-3D65-1A48-8702-AF7817387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1F339C8-EBD6-4648-B1A3-AB17E7FDAA62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628D65-E22D-EF46-A54A-54E13938A72A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C6853A1-9914-D545-AE6F-EC86BF3814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B45FBB-70D9-4E4F-801E-410BA64133AB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13D2EE2-F5E5-3348-9D9E-F3F5E46D5292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6A035E5-AD1E-134E-825E-DD9C50D509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AD0DEB8-B19E-004A-BC28-CBFBFD624FB4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20850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237065"/>
              </p:ext>
            </p:extLst>
          </p:nvPr>
        </p:nvGraphicFramePr>
        <p:xfrm>
          <a:off x="895815" y="2682565"/>
          <a:ext cx="5290100" cy="3537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B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2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0.31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.02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69534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549FAE-2799-A64C-92E5-8A8E7042F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286" y="2701261"/>
            <a:ext cx="7285463" cy="34997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4923" y="5190194"/>
            <a:ext cx="1094747" cy="47243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0093420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235449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endParaRPr lang="en-US" altLang="zh-CN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</a:t>
            </a:r>
            <a:r>
              <a:rPr lang="zh-CN" altLang="en-US" sz="1600" b="1" dirty="0"/>
              <a:t> </a:t>
            </a:r>
            <a:r>
              <a:rPr lang="en-US" altLang="zh-CN" sz="1600" dirty="0"/>
              <a:t>mon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,431</a:t>
            </a:r>
            <a:r>
              <a:rPr lang="zh-CN" altLang="en-US" sz="1600" dirty="0"/>
              <a:t> </a:t>
            </a:r>
            <a:r>
              <a:rPr lang="en-US" altLang="zh-CN" sz="1600" dirty="0"/>
              <a:t>lin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code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100+</a:t>
            </a:r>
            <a:r>
              <a:rPr lang="zh-CN" altLang="en-US" sz="1600" dirty="0"/>
              <a:t> </a:t>
            </a:r>
            <a:r>
              <a:rPr lang="en-US" altLang="zh-CN" sz="1600" dirty="0"/>
              <a:t>experi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rgbClr val="FF0000"/>
                </a:solidFill>
              </a:rPr>
              <a:t>3,000+</a:t>
            </a:r>
            <a:r>
              <a:rPr lang="zh-CN" altLang="en-US" sz="1600" dirty="0">
                <a:solidFill>
                  <a:srgbClr val="FF0000"/>
                </a:solidFill>
              </a:rPr>
              <a:t> </a:t>
            </a:r>
            <a:r>
              <a:rPr lang="en-US" altLang="zh-CN" sz="1600" dirty="0"/>
              <a:t>GPU</a:t>
            </a:r>
            <a:r>
              <a:rPr lang="zh-CN" altLang="en-US" sz="1600" dirty="0"/>
              <a:t> </a:t>
            </a:r>
            <a:r>
              <a:rPr lang="en-US" altLang="zh-CN" sz="1600" dirty="0"/>
              <a:t>hours</a:t>
            </a:r>
            <a:r>
              <a:rPr lang="zh-CN" altLang="en-US" sz="1600" dirty="0"/>
              <a:t> </a:t>
            </a:r>
            <a:r>
              <a:rPr lang="en-US" altLang="zh-CN" sz="1600" dirty="0"/>
              <a:t>(≈</a:t>
            </a:r>
            <a:r>
              <a:rPr lang="zh-CN" altLang="en-US" sz="1600" dirty="0"/>
              <a:t> </a:t>
            </a:r>
            <a:r>
              <a:rPr lang="en-US" altLang="zh-CN" sz="1600" b="1" dirty="0"/>
              <a:t>$2,700+</a:t>
            </a:r>
            <a:r>
              <a:rPr lang="zh-CN" altLang="en-US" sz="1600" b="1" dirty="0"/>
              <a:t>  </a:t>
            </a:r>
            <a:r>
              <a:rPr lang="en-US" altLang="zh-CN" sz="1600" dirty="0"/>
              <a:t>0.9$/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rgbClr val="00B050"/>
                </a:solidFill>
              </a:rPr>
              <a:t>State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of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The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A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out</a:t>
            </a:r>
            <a:r>
              <a:rPr lang="zh-CN" altLang="en-US" sz="1600" dirty="0"/>
              <a:t> </a:t>
            </a:r>
            <a:r>
              <a:rPr lang="en-US" altLang="zh-CN" sz="1600" dirty="0"/>
              <a:t>requirement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any</a:t>
            </a:r>
            <a:r>
              <a:rPr lang="zh-CN" altLang="en-US" sz="1600" dirty="0"/>
              <a:t> </a:t>
            </a:r>
            <a:r>
              <a:rPr lang="en-US" altLang="zh-CN" sz="1600" dirty="0"/>
              <a:t>pretraining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post</a:t>
            </a:r>
            <a:r>
              <a:rPr lang="zh-CN" altLang="en-US" sz="1600" dirty="0"/>
              <a:t> </a:t>
            </a:r>
            <a:r>
              <a:rPr lang="en-US" altLang="zh-CN" sz="1600" dirty="0"/>
              <a:t>processing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Using</a:t>
            </a:r>
            <a:r>
              <a:rPr lang="zh-CN" altLang="en-US" sz="1600" dirty="0"/>
              <a:t> </a:t>
            </a:r>
            <a:r>
              <a:rPr lang="en-US" altLang="zh-CN" sz="1600" dirty="0"/>
              <a:t>only</a:t>
            </a:r>
            <a:r>
              <a:rPr lang="zh-CN" altLang="en-US" sz="1600" dirty="0"/>
              <a:t> </a:t>
            </a:r>
            <a:r>
              <a:rPr lang="en-US" altLang="zh-CN" b="1" dirty="0">
                <a:solidFill>
                  <a:srgbClr val="00B050"/>
                </a:solidFill>
              </a:rPr>
              <a:t>10%</a:t>
            </a:r>
            <a:r>
              <a:rPr lang="zh-CN" altLang="en-US" dirty="0">
                <a:solidFill>
                  <a:srgbClr val="00B050"/>
                </a:solidFill>
              </a:rPr>
              <a:t> </a:t>
            </a:r>
            <a:r>
              <a:rPr lang="en-US" altLang="zh-CN" sz="1600" dirty="0"/>
              <a:t>parameter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Outperforms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at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2000" b="1" dirty="0">
                <a:solidFill>
                  <a:srgbClr val="00B050"/>
                </a:solidFill>
              </a:rPr>
              <a:t>8.2%</a:t>
            </a:r>
            <a:endParaRPr lang="en-US" sz="1600" b="1" dirty="0">
              <a:solidFill>
                <a:srgbClr val="00B050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15341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81584"/>
              </p:ext>
            </p:extLst>
          </p:nvPr>
        </p:nvGraphicFramePr>
        <p:xfrm>
          <a:off x="3025199" y="2622374"/>
          <a:ext cx="5057715" cy="3704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3261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18707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108537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  <a:gridCol w="813605">
                  <a:extLst>
                    <a:ext uri="{9D8B030D-6E8A-4147-A177-3AD203B41FA5}">
                      <a16:colId xmlns:a16="http://schemas.microsoft.com/office/drawing/2014/main" val="1110504263"/>
                    </a:ext>
                  </a:extLst>
                </a:gridCol>
                <a:gridCol w="813605">
                  <a:extLst>
                    <a:ext uri="{9D8B030D-6E8A-4147-A177-3AD203B41FA5}">
                      <a16:colId xmlns:a16="http://schemas.microsoft.com/office/drawing/2014/main" val="708926538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Join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sz="1100" b="1" dirty="0"/>
                        <a:t>SLU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-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28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BER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0" dirty="0"/>
                        <a:t>(pretrai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0.3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.0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4.3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2.4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.2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7.6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.8%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9.4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14M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498E0AE-B93B-4F44-A084-8F29B63E7781}"/>
              </a:ext>
            </a:extLst>
          </p:cNvPr>
          <p:cNvSpPr txBox="1"/>
          <p:nvPr/>
        </p:nvSpPr>
        <p:spPr>
          <a:xfrm>
            <a:off x="2396823" y="4391396"/>
            <a:ext cx="62837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Google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17B878-253C-C541-A7DC-97C2D527B312}"/>
              </a:ext>
            </a:extLst>
          </p:cNvPr>
          <p:cNvSpPr txBox="1"/>
          <p:nvPr/>
        </p:nvSpPr>
        <p:spPr>
          <a:xfrm>
            <a:off x="2669333" y="3203184"/>
            <a:ext cx="35586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DTU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C7ED4A-0AB2-B34E-B995-4C8C6D4E9899}"/>
              </a:ext>
            </a:extLst>
          </p:cNvPr>
          <p:cNvSpPr txBox="1"/>
          <p:nvPr/>
        </p:nvSpPr>
        <p:spPr>
          <a:xfrm>
            <a:off x="2374561" y="3813816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BD7FA8-98D8-F144-B6B5-730685A0DF67}"/>
              </a:ext>
            </a:extLst>
          </p:cNvPr>
          <p:cNvSpPr txBox="1"/>
          <p:nvPr/>
        </p:nvSpPr>
        <p:spPr>
          <a:xfrm>
            <a:off x="2350060" y="4887694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101864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A392B8-7BEF-7C4A-9110-CA4D912BCE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032283-90D1-6640-B117-93A7CC584E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C0DB34-7EE0-2245-A971-6D97E009F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s</a:t>
            </a:r>
            <a:r>
              <a:rPr lang="zh-CN" altLang="en-US" dirty="0"/>
              <a:t> </a:t>
            </a:r>
            <a:r>
              <a:rPr lang="en-US" altLang="zh-CN" dirty="0"/>
              <a:t>Visualizatio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F0C4F8-B027-4742-A8E2-9070408192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7481" y="857023"/>
            <a:ext cx="4157038" cy="552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0409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xt</a:t>
            </a:r>
            <a:r>
              <a:rPr lang="zh-CN" altLang="en-US" dirty="0"/>
              <a:t> </a:t>
            </a:r>
            <a:r>
              <a:rPr lang="en-US" altLang="zh-CN" dirty="0"/>
              <a:t>steps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Receipt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490504" y="1375770"/>
            <a:ext cx="10156374" cy="275460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Universal</a:t>
            </a:r>
            <a:r>
              <a:rPr lang="zh-CN" altLang="en-US" sz="1600" dirty="0"/>
              <a:t> </a:t>
            </a:r>
            <a:r>
              <a:rPr lang="en-US" altLang="zh-CN" sz="1600" b="1" dirty="0"/>
              <a:t>Tex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formation</a:t>
            </a:r>
            <a:r>
              <a:rPr lang="zh-CN" altLang="en-US" sz="1600" b="1" dirty="0"/>
              <a:t> </a:t>
            </a:r>
            <a:r>
              <a:rPr lang="en-US" altLang="zh-CN" sz="1600" dirty="0"/>
              <a:t>Extractor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Stat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ar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Optimiza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Limit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Data</a:t>
            </a:r>
            <a:endParaRPr lang="en-US" sz="1600" b="1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altLang="zh-CN" sz="1600" dirty="0"/>
              <a:t>Curren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good</a:t>
            </a:r>
            <a:r>
              <a:rPr lang="zh-CN" altLang="en-US" sz="1600" dirty="0"/>
              <a:t> </a:t>
            </a:r>
            <a:r>
              <a:rPr lang="en-US" altLang="zh-CN" sz="1600" dirty="0"/>
              <a:t>resul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limit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data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Transfer</a:t>
            </a:r>
            <a:r>
              <a:rPr lang="zh-CN" altLang="en-US" sz="1600" dirty="0"/>
              <a:t> </a:t>
            </a:r>
            <a:r>
              <a:rPr lang="en-US" altLang="zh-CN" sz="1600" dirty="0"/>
              <a:t>Learning</a:t>
            </a:r>
            <a:endParaRPr lang="en-US" altLang="zh-CN" sz="1600" b="1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Not</a:t>
            </a:r>
            <a:r>
              <a:rPr lang="zh-CN" altLang="en-US" sz="1600" dirty="0"/>
              <a:t> </a:t>
            </a:r>
            <a:r>
              <a:rPr lang="en-US" altLang="zh-CN" sz="1600" dirty="0"/>
              <a:t>feasible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current</a:t>
            </a:r>
            <a:r>
              <a:rPr lang="zh-CN" altLang="en-US" sz="1600" dirty="0"/>
              <a:t> </a:t>
            </a:r>
            <a:r>
              <a:rPr lang="en-US" altLang="zh-CN" sz="1600" dirty="0"/>
              <a:t>structur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entangling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spatial</a:t>
            </a:r>
            <a:r>
              <a:rPr lang="zh-CN" altLang="en-US" sz="1600" dirty="0"/>
              <a:t> </a:t>
            </a:r>
            <a:r>
              <a:rPr lang="en-US" altLang="zh-CN" sz="1600" dirty="0"/>
              <a:t>feature</a:t>
            </a:r>
            <a:r>
              <a:rPr lang="zh-CN" altLang="en-US" sz="1600" dirty="0"/>
              <a:t> </a:t>
            </a:r>
            <a:r>
              <a:rPr lang="en-US" altLang="zh-CN" sz="1600" dirty="0"/>
              <a:t>processer.</a:t>
            </a:r>
          </a:p>
          <a:p>
            <a:pPr marL="342900" indent="-342900">
              <a:buFont typeface="Wingdings" pitchFamily="2" charset="2"/>
              <a:buChar char="q"/>
            </a:pPr>
            <a:endParaRPr lang="en-US" altLang="zh-CN" sz="1600" dirty="0"/>
          </a:p>
          <a:p>
            <a:pPr marL="342900" indent="-342900">
              <a:buFont typeface="Wingdings" pitchFamily="2" charset="2"/>
              <a:buChar char="q"/>
            </a:pPr>
            <a:r>
              <a:rPr lang="en-US" altLang="zh-CN" sz="1600" dirty="0"/>
              <a:t>Neural Architecture Search to Identify Best Model Structure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To-be</a:t>
            </a:r>
            <a:r>
              <a:rPr lang="zh-CN" altLang="en-US" sz="1600" dirty="0"/>
              <a:t> </a:t>
            </a:r>
            <a:r>
              <a:rPr lang="en-US" altLang="zh-CN" sz="1600" dirty="0"/>
              <a:t>explored.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US" altLang="zh-CN" sz="1600" dirty="0"/>
              <a:t>Universal</a:t>
            </a:r>
            <a:r>
              <a:rPr lang="zh-CN" altLang="en-US" sz="1600" dirty="0"/>
              <a:t> </a:t>
            </a:r>
            <a:r>
              <a:rPr lang="en-US" altLang="zh-CN" sz="1600" b="1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/>
              <a:t>Extractor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To-be</a:t>
            </a:r>
            <a:r>
              <a:rPr lang="zh-CN" altLang="en-US" sz="1600" dirty="0"/>
              <a:t> </a:t>
            </a:r>
            <a:r>
              <a:rPr lang="en-US" altLang="zh-CN" sz="1600" dirty="0"/>
              <a:t>explored.</a:t>
            </a:r>
            <a:endParaRPr lang="en-US" sz="1600" b="1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50922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87896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8491E7-9DEB-7C48-BBEA-2E3B7E2FD2E1}"/>
              </a:ext>
            </a:extLst>
          </p:cNvPr>
          <p:cNvSpPr/>
          <p:nvPr/>
        </p:nvSpPr>
        <p:spPr>
          <a:xfrm>
            <a:off x="1392936" y="2694331"/>
            <a:ext cx="999134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Divid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r>
              <a:rPr lang="zh-CN" altLang="en-US" b="1" dirty="0"/>
              <a:t> </a:t>
            </a:r>
            <a:r>
              <a:rPr lang="en-US" altLang="zh-CN" b="1" dirty="0"/>
              <a:t>into</a:t>
            </a:r>
            <a:r>
              <a:rPr lang="zh-CN" altLang="en-US" b="1" dirty="0"/>
              <a:t> </a:t>
            </a:r>
            <a:r>
              <a:rPr lang="en-US" altLang="zh-CN" b="1" dirty="0"/>
              <a:t>Sub</a:t>
            </a:r>
            <a:r>
              <a:rPr lang="zh-CN" altLang="en-US" b="1" dirty="0"/>
              <a:t> </a:t>
            </a:r>
            <a:r>
              <a:rPr lang="en-US" altLang="zh-CN" b="1" dirty="0"/>
              <a:t>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,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t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erta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s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</p:txBody>
      </p:sp>
    </p:spTree>
    <p:extLst>
      <p:ext uri="{BB962C8B-B14F-4D97-AF65-F5344CB8AC3E}">
        <p14:creationId xmlns:p14="http://schemas.microsoft.com/office/powerpoint/2010/main" val="32822976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8491E7-9DEB-7C48-BBEA-2E3B7E2FD2E1}"/>
              </a:ext>
            </a:extLst>
          </p:cNvPr>
          <p:cNvSpPr/>
          <p:nvPr/>
        </p:nvSpPr>
        <p:spPr>
          <a:xfrm>
            <a:off x="1392936" y="2694331"/>
            <a:ext cx="999134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Divid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r>
              <a:rPr lang="zh-CN" altLang="en-US" b="1" dirty="0"/>
              <a:t> </a:t>
            </a:r>
            <a:r>
              <a:rPr lang="en-US" altLang="zh-CN" b="1" dirty="0"/>
              <a:t>into</a:t>
            </a:r>
            <a:r>
              <a:rPr lang="zh-CN" altLang="en-US" b="1" dirty="0"/>
              <a:t> </a:t>
            </a:r>
            <a:r>
              <a:rPr lang="en-US" altLang="zh-CN" b="1" dirty="0"/>
              <a:t>Sub</a:t>
            </a:r>
            <a:r>
              <a:rPr lang="zh-CN" altLang="en-US" b="1" dirty="0"/>
              <a:t> </a:t>
            </a:r>
            <a:r>
              <a:rPr lang="en-US" altLang="zh-CN" b="1" dirty="0"/>
              <a:t>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,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t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erta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s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74AE5C-77A4-8945-8EE0-79870FD298AE}"/>
              </a:ext>
            </a:extLst>
          </p:cNvPr>
          <p:cNvSpPr/>
          <p:nvPr/>
        </p:nvSpPr>
        <p:spPr>
          <a:xfrm>
            <a:off x="1392936" y="4048548"/>
            <a:ext cx="964387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Conquer</a:t>
            </a:r>
            <a:r>
              <a:rPr lang="zh-CN" altLang="en-US" b="1" dirty="0"/>
              <a:t> </a:t>
            </a:r>
            <a:r>
              <a:rPr lang="en-US" altLang="zh-CN" b="1" dirty="0"/>
              <a:t>Sub-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iscover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eatures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mantic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aning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pati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ag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u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eature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cumen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ayouts,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.g.,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abl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gion</a:t>
            </a:r>
          </a:p>
        </p:txBody>
      </p:sp>
    </p:spTree>
    <p:extLst>
      <p:ext uri="{BB962C8B-B14F-4D97-AF65-F5344CB8AC3E}">
        <p14:creationId xmlns:p14="http://schemas.microsoft.com/office/powerpoint/2010/main" val="15221064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5D046D9-E508-F74E-A530-D68532494F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2657678"/>
              </p:ext>
            </p:extLst>
          </p:nvPr>
        </p:nvGraphicFramePr>
        <p:xfrm>
          <a:off x="1108452" y="3117880"/>
          <a:ext cx="9812214" cy="16355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0302">
                  <a:extLst>
                    <a:ext uri="{9D8B030D-6E8A-4147-A177-3AD203B41FA5}">
                      <a16:colId xmlns:a16="http://schemas.microsoft.com/office/drawing/2014/main" val="2485266940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3718750154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1664929740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1668907333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2205383312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926599872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118622429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Ent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CPU)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GPU)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34589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BER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0" dirty="0"/>
                        <a:t>(transfer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lear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8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0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1.7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2985672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4.0%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/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97.3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1.5%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/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89.7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4.6%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7.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14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0.94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1.28)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f/s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0.02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0.16)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f/s</a:t>
                      </a:r>
                      <a:r>
                        <a:rPr lang="zh-CN" altLang="en-US" sz="1100" b="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28871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5805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2E480B53-3DFA-5B43-97BF-63793BC8381A}"/>
              </a:ext>
            </a:extLst>
          </p:cNvPr>
          <p:cNvSpPr/>
          <p:nvPr/>
        </p:nvSpPr>
        <p:spPr>
          <a:xfrm>
            <a:off x="6191112" y="2859851"/>
            <a:ext cx="2320290" cy="866215"/>
          </a:xfrm>
          <a:prstGeom prst="cube">
            <a:avLst>
              <a:gd name="adj" fmla="val 23059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CUTIE</a:t>
            </a:r>
            <a:endParaRPr lang="en-US" sz="1600" dirty="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D48F5F73-ED47-3D4D-9F78-FEBF4B127CC0}"/>
              </a:ext>
            </a:extLst>
          </p:cNvPr>
          <p:cNvSpPr/>
          <p:nvPr/>
        </p:nvSpPr>
        <p:spPr>
          <a:xfrm>
            <a:off x="1843539" y="3178604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6495A965-0423-AF45-B9CF-282B42C6D8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003702"/>
              </p:ext>
            </p:extLst>
          </p:nvPr>
        </p:nvGraphicFramePr>
        <p:xfrm flipH="1">
          <a:off x="2213334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CDD494A-E3DB-184A-9356-8F8F4ECB6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09577"/>
              </p:ext>
            </p:extLst>
          </p:nvPr>
        </p:nvGraphicFramePr>
        <p:xfrm flipH="1">
          <a:off x="8889180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sp>
        <p:nvSpPr>
          <p:cNvPr id="18" name="Right Arrow 17">
            <a:extLst>
              <a:ext uri="{FF2B5EF4-FFF2-40B4-BE49-F238E27FC236}">
                <a16:creationId xmlns:a16="http://schemas.microsoft.com/office/drawing/2014/main" id="{89B39DAD-E2C0-C648-AF3F-BB32EF5A63E4}"/>
              </a:ext>
            </a:extLst>
          </p:cNvPr>
          <p:cNvSpPr/>
          <p:nvPr/>
        </p:nvSpPr>
        <p:spPr>
          <a:xfrm>
            <a:off x="5897241" y="3167230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C4DEAFBB-409E-2F4F-98F4-4A6E802646E6}"/>
              </a:ext>
            </a:extLst>
          </p:cNvPr>
          <p:cNvSpPr/>
          <p:nvPr/>
        </p:nvSpPr>
        <p:spPr>
          <a:xfrm>
            <a:off x="8572293" y="3167229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B407668-EA62-574B-BC05-35FC1DFA92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515" y="1887952"/>
            <a:ext cx="1838149" cy="28553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8E4FEF-D9C3-0648-B9F4-EB13182CC0C9}"/>
              </a:ext>
            </a:extLst>
          </p:cNvPr>
          <p:cNvSpPr txBox="1"/>
          <p:nvPr/>
        </p:nvSpPr>
        <p:spPr>
          <a:xfrm>
            <a:off x="1843539" y="3006819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a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42B6E0-2343-DB40-9C4E-2C9F1ABBC765}"/>
              </a:ext>
            </a:extLst>
          </p:cNvPr>
          <p:cNvSpPr txBox="1"/>
          <p:nvPr/>
        </p:nvSpPr>
        <p:spPr>
          <a:xfrm>
            <a:off x="5914280" y="2992299"/>
            <a:ext cx="179536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b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AC4F57-2F90-6F46-A1EF-050F56940E4E}"/>
              </a:ext>
            </a:extLst>
          </p:cNvPr>
          <p:cNvSpPr txBox="1"/>
          <p:nvPr/>
        </p:nvSpPr>
        <p:spPr>
          <a:xfrm>
            <a:off x="8589332" y="2981598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c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4641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A1A43D2-BDC7-224A-AF2E-739AA40C5D3D}"/>
              </a:ext>
            </a:extLst>
          </p:cNvPr>
          <p:cNvSpPr txBox="1"/>
          <p:nvPr/>
        </p:nvSpPr>
        <p:spPr>
          <a:xfrm>
            <a:off x="1349828" y="1475637"/>
            <a:ext cx="10156374" cy="60016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altLang="zh-CN" b="1" dirty="0"/>
              <a:t>Is</a:t>
            </a:r>
            <a:r>
              <a:rPr lang="zh-CN" altLang="en-US" b="1" dirty="0"/>
              <a:t> </a:t>
            </a:r>
            <a:r>
              <a:rPr lang="en-US" altLang="zh-CN" b="1" dirty="0"/>
              <a:t>is</a:t>
            </a:r>
            <a:r>
              <a:rPr lang="zh-CN" altLang="en-US" b="1" dirty="0"/>
              <a:t> </a:t>
            </a:r>
            <a:r>
              <a:rPr lang="en-US" altLang="zh-CN" b="1" dirty="0"/>
              <a:t>applicable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employ</a:t>
            </a:r>
            <a:r>
              <a:rPr lang="zh-CN" altLang="en-US" b="1" dirty="0"/>
              <a:t> </a:t>
            </a:r>
            <a:r>
              <a:rPr lang="en-US" altLang="zh-CN" b="1" dirty="0"/>
              <a:t>transfer</a:t>
            </a:r>
            <a:r>
              <a:rPr lang="zh-CN" altLang="en-US" b="1" dirty="0"/>
              <a:t> </a:t>
            </a:r>
            <a:r>
              <a:rPr lang="en-US" altLang="zh-CN" b="1" dirty="0"/>
              <a:t>learning</a:t>
            </a:r>
            <a:r>
              <a:rPr lang="zh-CN" altLang="en-US" b="1"/>
              <a:t> </a:t>
            </a:r>
            <a:endParaRPr lang="en-US" altLang="zh-CN" b="1" dirty="0"/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b="1" dirty="0"/>
              <a:t>How</a:t>
            </a:r>
            <a:r>
              <a:rPr lang="zh-CN" altLang="en-US" b="1" dirty="0"/>
              <a:t> </a:t>
            </a:r>
            <a:r>
              <a:rPr lang="en-US" altLang="zh-CN" b="1" dirty="0"/>
              <a:t>many</a:t>
            </a:r>
            <a:r>
              <a:rPr lang="zh-CN" altLang="en-US" b="1" dirty="0"/>
              <a:t> </a:t>
            </a:r>
            <a:r>
              <a:rPr lang="en-US" altLang="zh-CN" b="1" dirty="0"/>
              <a:t>labelled</a:t>
            </a:r>
            <a:r>
              <a:rPr lang="zh-CN" altLang="en-US" b="1" dirty="0"/>
              <a:t> </a:t>
            </a:r>
            <a:r>
              <a:rPr lang="en-US" altLang="zh-CN" b="1" dirty="0"/>
              <a:t>sampled</a:t>
            </a:r>
            <a:r>
              <a:rPr lang="zh-CN" altLang="en-US" b="1" dirty="0"/>
              <a:t> </a:t>
            </a:r>
            <a:r>
              <a:rPr lang="en-US" altLang="zh-CN" b="1" dirty="0"/>
              <a:t>needed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achieve</a:t>
            </a:r>
            <a:r>
              <a:rPr lang="zh-CN" altLang="en-US" b="1" dirty="0"/>
              <a:t> </a:t>
            </a:r>
            <a:r>
              <a:rPr lang="en-US" altLang="zh-CN" b="1" dirty="0"/>
              <a:t>MVP?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50705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0016C58-3D65-1A48-8702-AF7817387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095" y="2539462"/>
            <a:ext cx="1838149" cy="285537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51F339C8-EBD6-4648-B1A3-AB17E7FDAA62}"/>
              </a:ext>
            </a:extLst>
          </p:cNvPr>
          <p:cNvSpPr/>
          <p:nvPr/>
        </p:nvSpPr>
        <p:spPr>
          <a:xfrm>
            <a:off x="1284926" y="3612609"/>
            <a:ext cx="1485481" cy="131674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6853A1-9914-D545-AE6F-EC86BF3814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6016" y="1230743"/>
            <a:ext cx="1838149" cy="416409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7B45FBB-70D9-4E4F-801E-410BA64133AB}"/>
              </a:ext>
            </a:extLst>
          </p:cNvPr>
          <p:cNvSpPr/>
          <p:nvPr/>
        </p:nvSpPr>
        <p:spPr>
          <a:xfrm>
            <a:off x="3106290" y="3587356"/>
            <a:ext cx="1566795" cy="160935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6A035E5-AD1E-134E-825E-DD9C50D5098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77"/>
          <a:stretch/>
        </p:blipFill>
        <p:spPr>
          <a:xfrm>
            <a:off x="4872937" y="1081789"/>
            <a:ext cx="1838149" cy="430408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AD0DEB8-B19E-004A-BC28-CBFBFD624FB4}"/>
              </a:ext>
            </a:extLst>
          </p:cNvPr>
          <p:cNvSpPr/>
          <p:nvPr/>
        </p:nvSpPr>
        <p:spPr>
          <a:xfrm>
            <a:off x="4945442" y="3647386"/>
            <a:ext cx="1530864" cy="174707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48BE4D4-8F7F-7342-A667-D6EC9B157599}"/>
              </a:ext>
            </a:extLst>
          </p:cNvPr>
          <p:cNvSpPr/>
          <p:nvPr/>
        </p:nvSpPr>
        <p:spPr>
          <a:xfrm>
            <a:off x="1284926" y="3815606"/>
            <a:ext cx="1485481" cy="131674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F9C4357-77E9-DC45-9191-F4F10EC0F693}"/>
              </a:ext>
            </a:extLst>
          </p:cNvPr>
          <p:cNvSpPr/>
          <p:nvPr/>
        </p:nvSpPr>
        <p:spPr>
          <a:xfrm>
            <a:off x="4893773" y="2146417"/>
            <a:ext cx="1530864" cy="174707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D3983-0675-D743-8EFF-78B494F69BFF}"/>
              </a:ext>
            </a:extLst>
          </p:cNvPr>
          <p:cNvSpPr/>
          <p:nvPr/>
        </p:nvSpPr>
        <p:spPr>
          <a:xfrm>
            <a:off x="3124255" y="2797314"/>
            <a:ext cx="1530864" cy="160935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48C87407-9152-354D-938D-56E02D5D6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231639"/>
              </p:ext>
            </p:extLst>
          </p:nvPr>
        </p:nvGraphicFramePr>
        <p:xfrm flipH="1">
          <a:off x="7786126" y="2321124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2166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arger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ictionar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ombinatio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xper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esig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upervis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a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mploy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patia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form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elie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nsfor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fro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el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i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I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model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n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volv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hum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oo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53361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arger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ictionar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ombinatio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xpe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esig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ules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upervis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a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mploy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patia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formation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elie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nsfor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fro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el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i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I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model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n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volv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hum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oop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4820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altLang="zh-CN" dirty="0"/>
              <a:t>Potential</a:t>
            </a:r>
            <a:r>
              <a:rPr lang="zh-CN" altLang="en-US" dirty="0"/>
              <a:t> </a:t>
            </a:r>
            <a:r>
              <a:rPr lang="en-US" altLang="zh-CN" dirty="0"/>
              <a:t>Solutio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473975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Several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(with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s)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r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eceipts</a:t>
            </a:r>
            <a:r>
              <a:rPr lang="en-US" altLang="zh-CN" sz="1600" dirty="0"/>
              <a:t>.</a:t>
            </a:r>
          </a:p>
          <a:p>
            <a:endParaRPr lang="en-US" altLang="zh-CN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Rul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loca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good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estimation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f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performanc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rule</a:t>
            </a:r>
            <a:r>
              <a:rPr lang="zh-CN" altLang="en-US" sz="1500" dirty="0"/>
              <a:t> </a:t>
            </a:r>
            <a:r>
              <a:rPr lang="en-US" altLang="zh-CN" sz="1500" dirty="0"/>
              <a:t>o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ong-tim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evelopment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n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slo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daption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o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ype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of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invoices</a:t>
            </a:r>
            <a:r>
              <a:rPr lang="en-US" altLang="zh-CN" sz="1500" dirty="0"/>
              <a:t>,</a:t>
            </a:r>
            <a:r>
              <a:rPr lang="zh-CN" altLang="en-US" sz="1500" dirty="0"/>
              <a:t> </a:t>
            </a:r>
            <a:r>
              <a:rPr lang="en-US" altLang="zh-CN" sz="1500" dirty="0"/>
              <a:t>rule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design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each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</a:t>
            </a:r>
            <a:r>
              <a:rPr lang="zh-CN" altLang="en-US" sz="1500" dirty="0"/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  <a:r>
              <a:rPr lang="zh-CN" altLang="en-US" sz="1500" dirty="0"/>
              <a:t> </a:t>
            </a:r>
            <a:endParaRPr lang="en-US" altLang="zh-CN" sz="15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A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supervis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model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automatically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no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additional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work</a:t>
            </a:r>
            <a:r>
              <a:rPr lang="zh-CN" altLang="en-US" sz="1500" dirty="0"/>
              <a:t> </a:t>
            </a:r>
            <a:r>
              <a:rPr lang="en-US" altLang="zh-CN" sz="1500" dirty="0"/>
              <a:t>is</a:t>
            </a:r>
            <a:r>
              <a:rPr lang="zh-CN" altLang="en-US" sz="1500" dirty="0"/>
              <a:t> </a:t>
            </a:r>
            <a:r>
              <a:rPr lang="en-US" altLang="zh-CN" sz="1500" dirty="0"/>
              <a:t>need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adapting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different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one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,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es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cost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method</a:t>
            </a:r>
            <a:r>
              <a:rPr lang="zh-CN" altLang="en-US" sz="1500" dirty="0"/>
              <a:t> </a:t>
            </a:r>
            <a:r>
              <a:rPr lang="en-US" altLang="zh-CN" sz="1500" dirty="0"/>
              <a:t>implementation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new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</a:t>
            </a:r>
            <a:r>
              <a:rPr lang="zh-CN" altLang="en-US" sz="1500" dirty="0"/>
              <a:t> </a:t>
            </a:r>
            <a:r>
              <a:rPr lang="en-US" altLang="zh-CN" sz="1500" dirty="0"/>
              <a:t>or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abel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ata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r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ed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raining,</a:t>
            </a:r>
            <a:r>
              <a:rPr lang="zh-CN" altLang="en-US" sz="1500" dirty="0"/>
              <a:t> </a:t>
            </a:r>
            <a:r>
              <a:rPr lang="en-US" altLang="zh-CN" sz="1500" dirty="0"/>
              <a:t>where</a:t>
            </a:r>
            <a:r>
              <a:rPr lang="zh-CN" altLang="en-US" sz="1500" dirty="0"/>
              <a:t> </a:t>
            </a:r>
            <a:r>
              <a:rPr lang="en-US" altLang="zh-CN" sz="1500" dirty="0"/>
              <a:t>human</a:t>
            </a:r>
            <a:r>
              <a:rPr lang="zh-CN" altLang="en-US" sz="1500" dirty="0"/>
              <a:t> </a:t>
            </a:r>
            <a:r>
              <a:rPr lang="en-US" altLang="zh-CN" sz="1500" dirty="0"/>
              <a:t>labeler</a:t>
            </a:r>
            <a:r>
              <a:rPr lang="zh-CN" altLang="en-US" sz="1500" dirty="0"/>
              <a:t> </a:t>
            </a:r>
            <a:r>
              <a:rPr lang="en-US" altLang="zh-CN" sz="1500" dirty="0"/>
              <a:t>are</a:t>
            </a:r>
            <a:r>
              <a:rPr lang="zh-CN" altLang="en-US" sz="1500" dirty="0"/>
              <a:t> </a:t>
            </a:r>
            <a:r>
              <a:rPr lang="en-US" altLang="zh-CN" sz="1500" dirty="0"/>
              <a:t>needed.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U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reducing</a:t>
            </a:r>
            <a:r>
              <a:rPr lang="zh-CN" altLang="en-US" sz="1600" dirty="0"/>
              <a:t> </a:t>
            </a:r>
            <a:r>
              <a:rPr lang="en-US" altLang="zh-CN" sz="1600" dirty="0"/>
              <a:t>operator’s</a:t>
            </a:r>
            <a:r>
              <a:rPr lang="zh-CN" altLang="en-US" sz="1600" dirty="0"/>
              <a:t> </a:t>
            </a:r>
            <a:r>
              <a:rPr lang="en-US" altLang="zh-CN" sz="1600" dirty="0"/>
              <a:t>labor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finding/processing</a:t>
            </a:r>
            <a:r>
              <a:rPr lang="zh-CN" altLang="en-US" sz="1600" b="1" i="1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perator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friendly</a:t>
            </a:r>
            <a:r>
              <a:rPr lang="en-US" altLang="zh-CN" sz="1500" dirty="0"/>
              <a:t>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highly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experienced</a:t>
            </a:r>
            <a:r>
              <a:rPr lang="zh-CN" altLang="en-US" dirty="0"/>
              <a:t> </a:t>
            </a:r>
            <a:r>
              <a:rPr lang="en-US" altLang="zh-CN" sz="1500" dirty="0"/>
              <a:t>UI/UX</a:t>
            </a:r>
            <a:r>
              <a:rPr lang="zh-CN" altLang="en-US" sz="1500" dirty="0"/>
              <a:t> </a:t>
            </a:r>
            <a:r>
              <a:rPr lang="en-US" altLang="zh-CN" sz="1500" dirty="0"/>
              <a:t>developer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involved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analysis</a:t>
            </a:r>
            <a:r>
              <a:rPr lang="zh-CN" altLang="en-US" sz="1500" dirty="0"/>
              <a:t> </a:t>
            </a:r>
            <a:r>
              <a:rPr lang="en-US" altLang="zh-CN" sz="1500" dirty="0"/>
              <a:t>and</a:t>
            </a:r>
            <a:r>
              <a:rPr lang="zh-CN" altLang="en-US" sz="1500" dirty="0"/>
              <a:t> </a:t>
            </a:r>
            <a:r>
              <a:rPr lang="en-US" altLang="zh-CN" sz="1500" dirty="0"/>
              <a:t>design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UI</a:t>
            </a:r>
            <a:r>
              <a:rPr lang="zh-CN" altLang="en-US" sz="1500" dirty="0"/>
              <a:t> </a:t>
            </a:r>
            <a:r>
              <a:rPr lang="en-US" altLang="zh-CN" sz="1500" dirty="0"/>
              <a:t>that</a:t>
            </a:r>
            <a:r>
              <a:rPr lang="zh-CN" altLang="en-US" sz="1500" dirty="0"/>
              <a:t> </a:t>
            </a:r>
            <a:r>
              <a:rPr lang="en-US" altLang="zh-CN" sz="1500" dirty="0"/>
              <a:t>has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truly</a:t>
            </a:r>
            <a:r>
              <a:rPr lang="zh-CN" altLang="en-US" sz="1500" dirty="0"/>
              <a:t> </a:t>
            </a:r>
            <a:r>
              <a:rPr lang="en-US" altLang="zh-CN" sz="1500" dirty="0"/>
              <a:t>user</a:t>
            </a:r>
            <a:r>
              <a:rPr lang="zh-CN" altLang="en-US" sz="1500" dirty="0"/>
              <a:t> </a:t>
            </a:r>
            <a:r>
              <a:rPr lang="en-US" altLang="zh-CN" sz="1500" dirty="0"/>
              <a:t>friendly</a:t>
            </a:r>
            <a:r>
              <a:rPr lang="zh-CN" altLang="en-US" sz="1500" dirty="0"/>
              <a:t> </a:t>
            </a:r>
            <a:r>
              <a:rPr lang="en-US" altLang="zh-CN" sz="1500" dirty="0"/>
              <a:t>operating</a:t>
            </a:r>
            <a:r>
              <a:rPr lang="zh-CN" altLang="en-US" sz="1500" dirty="0"/>
              <a:t> </a:t>
            </a:r>
            <a:r>
              <a:rPr lang="en-US" altLang="zh-CN" sz="1500" dirty="0"/>
              <a:t>logic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altLang="zh-CN" sz="1600" dirty="0"/>
              <a:t>Assemb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ule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AI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UI</a:t>
            </a:r>
            <a:r>
              <a:rPr lang="zh-CN" altLang="en-US" sz="1600" dirty="0"/>
              <a:t> </a:t>
            </a:r>
            <a:r>
              <a:rPr lang="en-US" altLang="zh-CN" sz="1600" dirty="0"/>
              <a:t>based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potentially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result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2750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527020" cy="914400"/>
            <a:chOff x="4658875" y="1057015"/>
            <a:chExt cx="2527020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612621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perator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260674" cy="1686421"/>
            <a:chOff x="8206148" y="2220787"/>
            <a:chExt cx="2260674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96821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base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39140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storage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425024" cy="1556774"/>
            <a:chOff x="4706457" y="3923257"/>
            <a:chExt cx="242502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97622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models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53567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lgorithms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08165">
            <a:off x="3728277" y="45277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7" name="Graphic 66" descr="Network">
            <a:extLst>
              <a:ext uri="{FF2B5EF4-FFF2-40B4-BE49-F238E27FC236}">
                <a16:creationId xmlns:a16="http://schemas.microsoft.com/office/drawing/2014/main" id="{1E6B7C75-3852-AA41-8969-D71597B8EC7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EF3B4B9-21AC-8140-9861-BD006ADA0872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FDDCF6-AC16-8E4C-B532-34260CCB9895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BD3ECE-E020-2D4E-8042-D3297BE79E19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pic>
        <p:nvPicPr>
          <p:cNvPr id="49" name="Graphic 48" descr="Wreath">
            <a:extLst>
              <a:ext uri="{FF2B5EF4-FFF2-40B4-BE49-F238E27FC236}">
                <a16:creationId xmlns:a16="http://schemas.microsoft.com/office/drawing/2014/main" id="{A0894633-AA04-DC49-A9DF-63246A00E0E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219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720984" cy="914400"/>
            <a:chOff x="4658875" y="1057015"/>
            <a:chExt cx="2720984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806585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22B24CA3-8946-A24C-AE99-035E65E4CB6E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560436" cy="1686421"/>
            <a:chOff x="8206148" y="2220787"/>
            <a:chExt cx="2560436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155010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69116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521204" cy="1556774"/>
            <a:chOff x="4706457" y="3923257"/>
            <a:chExt cx="252120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1301638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63185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0" name="Graphic 49" descr="Wreath">
            <a:extLst>
              <a:ext uri="{FF2B5EF4-FFF2-40B4-BE49-F238E27FC236}">
                <a16:creationId xmlns:a16="http://schemas.microsoft.com/office/drawing/2014/main" id="{5A2FBC98-B9F5-6C47-AB51-D12783201C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08165">
            <a:off x="3728277" y="45404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2" name="Graphic 61" descr="Arrow: Clockwise curve">
            <a:extLst>
              <a:ext uri="{FF2B5EF4-FFF2-40B4-BE49-F238E27FC236}">
                <a16:creationId xmlns:a16="http://schemas.microsoft.com/office/drawing/2014/main" id="{15676BA7-312E-FC4D-8AAC-C510685309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4929465">
            <a:off x="3706569" y="1743790"/>
            <a:ext cx="914400" cy="914400"/>
          </a:xfrm>
          <a:prstGeom prst="rect">
            <a:avLst/>
          </a:prstGeom>
        </p:spPr>
      </p:pic>
      <p:pic>
        <p:nvPicPr>
          <p:cNvPr id="63" name="Graphic 62" descr="Arrow: Clockwise curve">
            <a:extLst>
              <a:ext uri="{FF2B5EF4-FFF2-40B4-BE49-F238E27FC236}">
                <a16:creationId xmlns:a16="http://schemas.microsoft.com/office/drawing/2014/main" id="{4EDDDD0B-CB38-8945-98B1-6FBCB126BCD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9057218">
            <a:off x="7843174" y="1570330"/>
            <a:ext cx="914400" cy="914400"/>
          </a:xfrm>
          <a:prstGeom prst="rect">
            <a:avLst/>
          </a:prstGeom>
        </p:spPr>
      </p:pic>
      <p:pic>
        <p:nvPicPr>
          <p:cNvPr id="64" name="Graphic 63" descr="Arrow: Clockwise curve">
            <a:extLst>
              <a:ext uri="{FF2B5EF4-FFF2-40B4-BE49-F238E27FC236}">
                <a16:creationId xmlns:a16="http://schemas.microsoft.com/office/drawing/2014/main" id="{A3756B8F-09E5-714E-AD7A-BD9940B767F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14750713">
            <a:off x="7824842" y="4896942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pic>
        <p:nvPicPr>
          <p:cNvPr id="75" name="Graphic 74" descr="Arrow: Clockwise curve">
            <a:extLst>
              <a:ext uri="{FF2B5EF4-FFF2-40B4-BE49-F238E27FC236}">
                <a16:creationId xmlns:a16="http://schemas.microsoft.com/office/drawing/2014/main" id="{73FE23BD-94A4-EE40-81F5-C3F608D9D7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587197">
            <a:off x="4654972" y="2594090"/>
            <a:ext cx="797715" cy="2113566"/>
          </a:xfrm>
          <a:prstGeom prst="rect">
            <a:avLst/>
          </a:prstGeom>
        </p:spPr>
      </p:pic>
      <p:pic>
        <p:nvPicPr>
          <p:cNvPr id="76" name="Graphic 75" descr="Arrow: Clockwise curve">
            <a:extLst>
              <a:ext uri="{FF2B5EF4-FFF2-40B4-BE49-F238E27FC236}">
                <a16:creationId xmlns:a16="http://schemas.microsoft.com/office/drawing/2014/main" id="{ACF270CE-5C4F-9E4D-87B7-2FE1C48B258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6396397">
            <a:off x="7252588" y="2814463"/>
            <a:ext cx="914400" cy="914400"/>
          </a:xfrm>
          <a:prstGeom prst="rect">
            <a:avLst/>
          </a:prstGeom>
        </p:spPr>
      </p:pic>
      <p:pic>
        <p:nvPicPr>
          <p:cNvPr id="49" name="Graphic 48" descr="Arrow: Slight curve">
            <a:extLst>
              <a:ext uri="{FF2B5EF4-FFF2-40B4-BE49-F238E27FC236}">
                <a16:creationId xmlns:a16="http://schemas.microsoft.com/office/drawing/2014/main" id="{B33F6E5D-30F5-4842-9C2A-7FD6F02634A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3497536">
            <a:off x="5326422" y="2134416"/>
            <a:ext cx="914400" cy="914400"/>
          </a:xfrm>
          <a:prstGeom prst="rect">
            <a:avLst/>
          </a:prstGeom>
        </p:spPr>
      </p:pic>
      <p:pic>
        <p:nvPicPr>
          <p:cNvPr id="51" name="Graphic 50" descr="Network">
            <a:extLst>
              <a:ext uri="{FF2B5EF4-FFF2-40B4-BE49-F238E27FC236}">
                <a16:creationId xmlns:a16="http://schemas.microsoft.com/office/drawing/2014/main" id="{66AB6713-2894-7045-8547-256EC31183B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802C2386-70D9-4642-8600-0C7332A9E22E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EF45CBE-3AAE-B444-855E-962625EFB2CC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55363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tonomous Driving - Body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Autonomous Driving - Head">
  <a:themeElements>
    <a:clrScheme name="Benutzerdefiniert 92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0088"/>
      </a:accent1>
      <a:accent2>
        <a:srgbClr val="008EFF"/>
      </a:accent2>
      <a:accent3>
        <a:srgbClr val="2800FF"/>
      </a:accent3>
      <a:accent4>
        <a:srgbClr val="00BAFF"/>
      </a:accent4>
      <a:accent5>
        <a:srgbClr val="B9FF00"/>
      </a:accent5>
      <a:accent6>
        <a:srgbClr val="00F3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tpl_accenture_eng_16_9_NEW_2017_Graphik.potx" id="{AD309443-71D7-4668-A908-42A8B4D29B9B}" vid="{C15F261F-32B9-41C6-AA6E-E035184558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D496B73F4B074BA584F5C1E8DA48B3" ma:contentTypeVersion="2" ma:contentTypeDescription="Create a new document." ma:contentTypeScope="" ma:versionID="b8ce347c67e430ac454b4ce24bd888b8">
  <xsd:schema xmlns:xsd="http://www.w3.org/2001/XMLSchema" xmlns:xs="http://www.w3.org/2001/XMLSchema" xmlns:p="http://schemas.microsoft.com/office/2006/metadata/properties" xmlns:ns2="2cc71875-7dca-45e9-a6b9-2157184861b2" targetNamespace="http://schemas.microsoft.com/office/2006/metadata/properties" ma:root="true" ma:fieldsID="51ab7073f2da2dce5ff4a14354e43e6c" ns2:_="">
    <xsd:import namespace="2cc71875-7dca-45e9-a6b9-2157184861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c71875-7dca-45e9-a6b9-2157184861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4D4C83-C79F-4E35-A2FE-1695E7472504}">
  <ds:schemaRefs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2cc71875-7dca-45e9-a6b9-2157184861b2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DEEAB75-78CE-470C-8FC1-88328C892D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A2D78D-CE10-4EF9-8828-EC630A807B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c71875-7dca-45e9-a6b9-2157184861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enture_Master_Arial_01_2017</Template>
  <TotalTime>42731</TotalTime>
  <Words>2297</Words>
  <Application>Microsoft Macintosh PowerPoint</Application>
  <PresentationFormat>Widescreen</PresentationFormat>
  <Paragraphs>476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1" baseType="lpstr">
      <vt:lpstr>Heiti TC Medium</vt:lpstr>
      <vt:lpstr>Arial</vt:lpstr>
      <vt:lpstr>Courier New</vt:lpstr>
      <vt:lpstr>Graphik</vt:lpstr>
      <vt:lpstr>Graphik Regular</vt:lpstr>
      <vt:lpstr>Symbol</vt:lpstr>
      <vt:lpstr>Times New Roman</vt:lpstr>
      <vt:lpstr>Wingdings</vt:lpstr>
      <vt:lpstr>Autonomous Driving - Body</vt:lpstr>
      <vt:lpstr>Autonomous Driving - Head</vt:lpstr>
      <vt:lpstr>think-cell Slide</vt:lpstr>
      <vt:lpstr>Interested Information Extraction from Document Images</vt:lpstr>
      <vt:lpstr>0. Scope</vt:lpstr>
      <vt:lpstr>PowerPoint Presentation</vt:lpstr>
      <vt:lpstr>PowerPoint Presentation</vt:lpstr>
      <vt:lpstr>0.1 Major Concerns </vt:lpstr>
      <vt:lpstr>0.1 Major Concerns </vt:lpstr>
      <vt:lpstr>1. Potential Solution</vt:lpstr>
      <vt:lpstr>2. Danny Closed Loop</vt:lpstr>
      <vt:lpstr>2. Danny Closed Loop</vt:lpstr>
      <vt:lpstr>Appendix: Different Word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(Optimized) </vt:lpstr>
      <vt:lpstr>The Breakthrough in CUTIE (Optimized) </vt:lpstr>
      <vt:lpstr>Results Visualization</vt:lpstr>
      <vt:lpstr>Next steps to Universal Receipt Understanding Model</vt:lpstr>
      <vt:lpstr>Universal Doc Understanding Model</vt:lpstr>
      <vt:lpstr>Universal Doc Understanding Model</vt:lpstr>
      <vt:lpstr>Universal Doc Understanding Model</vt:lpstr>
      <vt:lpstr>PowerPoint Presentation</vt:lpstr>
      <vt:lpstr>PowerPoint Presentation</vt:lpstr>
    </vt:vector>
  </TitlesOfParts>
  <Manager/>
  <Company>Accentur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Plan for Automatically Extraction Key Information from OCR Processed Invoices / Receipts</dc:title>
  <dc:subject/>
  <dc:creator>Xiaohui Zhao</dc:creator>
  <cp:keywords/>
  <dc:description>xiaohui.zhao@accenture.com</dc:description>
  <cp:lastModifiedBy>Zhao, Xiaohui</cp:lastModifiedBy>
  <cp:revision>2057</cp:revision>
  <dcterms:created xsi:type="dcterms:W3CDTF">2017-03-15T20:37:51Z</dcterms:created>
  <dcterms:modified xsi:type="dcterms:W3CDTF">2019-04-24T03:07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D496B73F4B074BA584F5C1E8DA48B3</vt:lpwstr>
  </property>
</Properties>
</file>